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13:17.107" v="82" actId="1035"/>
      <pc:docMkLst>
        <pc:docMk/>
      </pc:docMkLst>
      <pc:sldChg chg="modSp mod">
        <pc:chgData name="Weigel Stefan (PAR-EPS)" userId="fd3b2067-2981-4ad8-bf3a-d2e1004e4fa8" providerId="ADAL" clId="{98DA33D0-7B59-4DCE-A599-58F26EAA669E}" dt="2024-02-28T14:13:17.107" v="82" actId="1035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13:17.107" v="82" actId="103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13:12.200" v="7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AA82316F-85C2-40C1-9BC7-CE6815926C40}"/>
    <pc:docChg chg="modSld">
      <pc:chgData name="Weigel Stefan (PAR-EPS)" userId="fd3b2067-2981-4ad8-bf3a-d2e1004e4fa8" providerId="ADAL" clId="{AA82316F-85C2-40C1-9BC7-CE6815926C40}" dt="2024-02-28T14:15:54.696" v="14"/>
      <pc:docMkLst>
        <pc:docMk/>
      </pc:docMkLst>
      <pc:sldChg chg="modSp mod">
        <pc:chgData name="Weigel Stefan (PAR-EPS)" userId="fd3b2067-2981-4ad8-bf3a-d2e1004e4fa8" providerId="ADAL" clId="{AA82316F-85C2-40C1-9BC7-CE6815926C40}" dt="2024-02-28T14:15:54.696" v="14"/>
        <pc:sldMkLst>
          <pc:docMk/>
          <pc:sldMk cId="204404663" sldId="275"/>
        </pc:sldMkLst>
        <pc:spChg chg="mod">
          <ac:chgData name="Weigel Stefan (PAR-EPS)" userId="fd3b2067-2981-4ad8-bf3a-d2e1004e4fa8" providerId="ADAL" clId="{AA82316F-85C2-40C1-9BC7-CE6815926C40}" dt="2024-02-28T14:14:16.327" v="0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A82316F-85C2-40C1-9BC7-CE6815926C40}" dt="2024-02-28T14:14:29.244" v="2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AA82316F-85C2-40C1-9BC7-CE6815926C40}" dt="2024-02-28T14:15:54.696" v="14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CFF Infrastructur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D$10:$D$26</c:f>
              <c:numCache>
                <c:formatCode>#,##0</c:formatCode>
                <c:ptCount val="17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utres infrastructur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E$10:$E$26</c:f>
              <c:numCache>
                <c:formatCode>#,##0</c:formatCode>
                <c:ptCount val="17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C$8</c15:sqref>
                        </c15:formulaRef>
                      </c:ext>
                    </c:extLst>
                    <c:strCache>
                      <c:ptCount val="1"/>
                      <c:pt idx="0">
                        <c:v>Énergie utilisée pour l’exploitation ferroviaire </c:v>
                      </c:pt>
                    </c:strCache>
                  </c:strRef>
                </c:tx>
                <c:spPr>
                  <a:solidFill>
                    <a:srgbClr val="DCDCDC"/>
                  </a:solidFill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10:$C$25</c15:sqref>
                        </c15:formulaRef>
                      </c:ext>
                    </c:extLst>
                    <c:numCache>
                      <c:formatCode>#,##0</c:formatCode>
                      <c:ptCount val="16"/>
                      <c:pt idx="0">
                        <c:v>2331.3506910000001</c:v>
                      </c:pt>
                      <c:pt idx="1">
                        <c:v>2417</c:v>
                      </c:pt>
                      <c:pt idx="2">
                        <c:v>2390.7474560000001</c:v>
                      </c:pt>
                      <c:pt idx="3">
                        <c:v>2428.0982279999998</c:v>
                      </c:pt>
                      <c:pt idx="4">
                        <c:v>2381.1</c:v>
                      </c:pt>
                      <c:pt idx="5">
                        <c:v>2409.8098610000002</c:v>
                      </c:pt>
                      <c:pt idx="6">
                        <c:v>2441.6456240000002</c:v>
                      </c:pt>
                      <c:pt idx="7">
                        <c:v>2380.7692569999999</c:v>
                      </c:pt>
                      <c:pt idx="8">
                        <c:v>2411.2330000000002</c:v>
                      </c:pt>
                      <c:pt idx="9">
                        <c:v>2457.892284</c:v>
                      </c:pt>
                      <c:pt idx="10">
                        <c:v>2389.206682</c:v>
                      </c:pt>
                      <c:pt idx="11">
                        <c:v>2339.4</c:v>
                      </c:pt>
                      <c:pt idx="12">
                        <c:v>2312.5</c:v>
                      </c:pt>
                      <c:pt idx="13">
                        <c:v>2157.4</c:v>
                      </c:pt>
                      <c:pt idx="14">
                        <c:v>2275.4760000000001</c:v>
                      </c:pt>
                      <c:pt idx="15">
                        <c:v>2312.36099999999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4832-475B-9895-C8153D632F4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A5A5A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832-475B-9895-C8153D632F4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444444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832-475B-9895-C8153D632F4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strRef>
              <c:f>data!$F$8</c:f>
              <c:strCache>
                <c:ptCount val="1"/>
                <c:pt idx="0">
                  <c:v>Part d’énergies renouvelables dans le courant de traction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F$10:$F$26</c:f>
              <c:numCache>
                <c:formatCode>#,##0</c:formatCode>
                <c:ptCount val="17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3.2376412659161406E-2"/>
          <c:y val="0.91690290708072231"/>
          <c:w val="0.86431769375935441"/>
          <c:h val="6.2319984563840795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953</cdr:x>
      <cdr:y>0.056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64450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GWh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sommation de courant de traction et part des énergies renouvelables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33942467"/>
              </p:ext>
            </p:extLst>
          </p:nvPr>
        </p:nvGraphicFramePr>
        <p:xfrm>
          <a:off x="1494169" y="1886295"/>
          <a:ext cx="9220200" cy="4098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221689" y="5453146"/>
            <a:ext cx="4997258" cy="193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ourant de traction distribué par CFF Infrastructure Énergie pour la circulation des trains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B5D6429-5D8C-48EC-B5CA-9E5DED1D5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Consommation de courant de traction et part des énergies renouvelable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ommation de courant de traction et part des énergies renouvelables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